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</p:sldIdLst>
  <p:sldSz cx="12192000" cy="6858000"/>
  <p:notesSz cx="6858000" cy="9144000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4660"/>
  </p:normalViewPr>
  <p:slideViewPr>
    <p:cSldViewPr snapToGrid="0">
      <p:cViewPr varScale="1">
        <p:scale>
          <a:sx n="107" d="100"/>
          <a:sy n="107" d="100"/>
        </p:scale>
        <p:origin x="696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870646766169153E-2"/>
          <c:y val="8.8289112534309239E-2"/>
          <c:w val="0.94825870646766164"/>
          <c:h val="0.8234217749313814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1.372369624885635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6F3-4626-9A5F-8E4567254F49}"/>
                </c:ext>
              </c:extLst>
            </c:dLbl>
            <c:dLbl>
              <c:idx val="1"/>
              <c:layout>
                <c:manualLayout>
                  <c:x val="0"/>
                  <c:y val="1.372369624885635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6F3-4626-9A5F-8E4567254F49}"/>
                </c:ext>
              </c:extLst>
            </c:dLbl>
            <c:dLbl>
              <c:idx val="2"/>
              <c:layout>
                <c:manualLayout>
                  <c:x val="0"/>
                  <c:y val="1.372369624885635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6F3-4626-9A5F-8E4567254F4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4</c:v>
                </c:pt>
                <c:pt idx="1">
                  <c:v>5</c:v>
                </c:pt>
                <c:pt idx="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6F3-4626-9A5F-8E4567254F49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1.372369624885635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6F3-4626-9A5F-8E4567254F49}"/>
                </c:ext>
              </c:extLst>
            </c:dLbl>
            <c:dLbl>
              <c:idx val="1"/>
              <c:layout>
                <c:manualLayout>
                  <c:x val="0"/>
                  <c:y val="1.372369624885635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6F3-4626-9A5F-8E4567254F49}"/>
                </c:ext>
              </c:extLst>
            </c:dLbl>
            <c:dLbl>
              <c:idx val="2"/>
              <c:layout>
                <c:manualLayout>
                  <c:x val="0"/>
                  <c:y val="1.372369624885635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6F3-4626-9A5F-8E4567254F4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5</c:v>
                </c:pt>
                <c:pt idx="1">
                  <c:v>4</c:v>
                </c:pt>
                <c:pt idx="2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26F3-4626-9A5F-8E4567254F49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1.372369624885635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26F3-4626-9A5F-8E4567254F49}"/>
                </c:ext>
              </c:extLst>
            </c:dLbl>
            <c:dLbl>
              <c:idx val="1"/>
              <c:layout>
                <c:manualLayout>
                  <c:x val="0"/>
                  <c:y val="1.372369624885635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6F3-4626-9A5F-8E4567254F49}"/>
                </c:ext>
              </c:extLst>
            </c:dLbl>
            <c:dLbl>
              <c:idx val="2"/>
              <c:layout>
                <c:manualLayout>
                  <c:x val="0"/>
                  <c:y val="1.372369624885635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26F3-4626-9A5F-8E4567254F4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C$3</c:f>
              <c:numCache>
                <c:formatCode>General</c:formatCode>
                <c:ptCount val="3"/>
                <c:pt idx="0">
                  <c:v>4</c:v>
                </c:pt>
                <c:pt idx="1">
                  <c:v>7</c:v>
                </c:pt>
                <c:pt idx="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26F3-4626-9A5F-8E4567254F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350719663"/>
        <c:axId val="1"/>
      </c:barChart>
      <c:catAx>
        <c:axId val="1350719663"/>
        <c:scaling>
          <c:orientation val="minMax"/>
        </c:scaling>
        <c:delete val="0"/>
        <c:axPos val="t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axMin"/>
          <c:max val="1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35071966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0A8487-7BE5-5DD8-B2DD-976DFE420EA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B2A5539-16B1-DAC5-F774-E1AC4DC0CD7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B5B2A7-E56A-5DAB-1CB7-273A0E4096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8A124-5D5C-4CAD-B1B7-795E0DD1CF92}" type="datetimeFigureOut">
              <a:rPr lang="en-US" smtClean="0"/>
              <a:t>4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5A1D95-E722-3FEE-AA64-2C7ABA9712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3FEE30-54A9-3351-9F67-9B82385547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254BA-5DB3-4932-825D-3C8C670308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5996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EFE332-0E6E-A32C-A274-91B6EA43AE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FB2BC80-C2D2-156A-6877-FAD7F54C20E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D66407-8D18-AE08-245F-F835B70A57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8A124-5D5C-4CAD-B1B7-795E0DD1CF92}" type="datetimeFigureOut">
              <a:rPr lang="en-US" smtClean="0"/>
              <a:t>4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DECFEC-D1BA-6F45-2C98-0D86349C3E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0A4252-E9F1-F85C-F357-C305D5E814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254BA-5DB3-4932-825D-3C8C670308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87039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1379393-15F4-8063-8C43-F69056C60AC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AAC0DD0-B69C-C38B-05F9-C3F2C092902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F98491-EF16-CB06-9C0D-0AB19B9B5D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8A124-5D5C-4CAD-B1B7-795E0DD1CF92}" type="datetimeFigureOut">
              <a:rPr lang="en-US" smtClean="0"/>
              <a:t>4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4A0DCC-520B-F32B-016E-69B8019711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0790CF-6B61-E3E3-226B-CDA9583A20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254BA-5DB3-4932-825D-3C8C670308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97205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E6DF55-CEED-F8CD-7E2C-545F6E98D6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E2FAA7-8A75-1CD4-DE98-32B6888C90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4A6EC6-60A1-89FB-FC47-FE861996D8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8A124-5D5C-4CAD-B1B7-795E0DD1CF92}" type="datetimeFigureOut">
              <a:rPr lang="en-US" smtClean="0"/>
              <a:t>4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DA1CEA-FBF1-D149-6300-7F08BAF880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9F57E2-8951-DCB3-A890-72FED800DC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254BA-5DB3-4932-825D-3C8C670308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06224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E4DC37-3623-FA73-D50D-73F643ED4B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82CD63F-7672-BC90-F58A-5AB059CB0E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9D5DD8-B1E2-541A-B46D-079F986F6C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8A124-5D5C-4CAD-B1B7-795E0DD1CF92}" type="datetimeFigureOut">
              <a:rPr lang="en-US" smtClean="0"/>
              <a:t>4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3430E9-DDFE-6605-EEFF-3F9F89C77B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81FE2-5BD9-7ED0-278B-A00B286811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254BA-5DB3-4932-825D-3C8C670308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69249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3387A1-4840-68CC-E03F-49027AAFA6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268A6B-5D0D-D474-0331-91A1FF83036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735028B-2A45-7AAE-BC86-577AD46431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41F1C01-E8D9-CA34-2277-6B625C580C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8A124-5D5C-4CAD-B1B7-795E0DD1CF92}" type="datetimeFigureOut">
              <a:rPr lang="en-US" smtClean="0"/>
              <a:t>4/2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4B58C2-8FA7-0D7B-239F-9F74C33B34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6C113A5-8A89-F448-AC50-80C70757BF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254BA-5DB3-4932-825D-3C8C670308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97444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527332-1D08-EF82-7DA2-BF86D18E75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C6248B-B6F8-7A88-7CDF-3444CA8CB9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5A8E101-48A4-7312-2CFD-8CDE37E640E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218AB2-FDBC-B546-C671-529D2DE0401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71C6AB-5F3C-2C47-EF8E-AB8BB50E8E3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31043E5-12E6-E216-14DB-5724EC4C93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8A124-5D5C-4CAD-B1B7-795E0DD1CF92}" type="datetimeFigureOut">
              <a:rPr lang="en-US" smtClean="0"/>
              <a:t>4/24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7A25E5D-27AC-A564-4A8F-C272671DB7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879B99D-8AFD-943B-2B68-6AC3210827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254BA-5DB3-4932-825D-3C8C670308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48909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932376-CA80-30A2-AB1F-3060FF1C34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5BBA70C-063A-8934-EE85-CBA0CA420F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8A124-5D5C-4CAD-B1B7-795E0DD1CF92}" type="datetimeFigureOut">
              <a:rPr lang="en-US" smtClean="0"/>
              <a:t>4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C91E258-EC00-086C-7E4B-356EFE969E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4B19C50-AA93-B891-9BAE-E9BE34089E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254BA-5DB3-4932-825D-3C8C670308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81964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B3AD085-D62E-1D14-3FB3-BC4E34C559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8A124-5D5C-4CAD-B1B7-795E0DD1CF92}" type="datetimeFigureOut">
              <a:rPr lang="en-US" smtClean="0"/>
              <a:t>4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148014-85EA-32AF-0EEC-2C527D063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C72435-DD1D-5238-672A-B7AB798D2A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254BA-5DB3-4932-825D-3C8C670308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00425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EB5D6B-D64B-AB2C-EA77-E277DBCEA8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C42556-6595-40A8-DC5E-3C6264FB76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D3CC141-CE9A-A3E5-F0AD-201ABACBABF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9B031E-B249-898B-D328-1DEE173188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8A124-5D5C-4CAD-B1B7-795E0DD1CF92}" type="datetimeFigureOut">
              <a:rPr lang="en-US" smtClean="0"/>
              <a:t>4/2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D592E3-FF63-0299-EC68-A982AD2A9D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DA3E597-892D-DAFC-5021-C511D23B4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254BA-5DB3-4932-825D-3C8C670308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66703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C11DE0-C071-D714-E387-1395E8C0F0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3955C4-CB79-9981-0B54-C22E6F91F86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F5AA675-66FB-BFBA-BC18-6339216E6B9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8B108F8-958F-05CD-034A-0622A109F2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8A124-5D5C-4CAD-B1B7-795E0DD1CF92}" type="datetimeFigureOut">
              <a:rPr lang="en-US" smtClean="0"/>
              <a:t>4/2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7A8516D-ED75-F3E6-4563-AA9F49C519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B0B72FF-9045-00C4-0790-F5D113EF1B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254BA-5DB3-4932-825D-3C8C670308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06046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637CA04-CC77-2660-BBED-B443123955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797472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32" imgH="530" progId="TCLayout.ActiveDocument.1">
                  <p:embed/>
                </p:oleObj>
              </mc:Choice>
              <mc:Fallback>
                <p:oleObj name="think-cell Slide" r:id="rId14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DAA7CB9-AB0F-60E5-11EE-41E5B3DC7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B8332F-2CFC-8574-265D-83F36DADA9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C55EE8-418A-8B63-645E-0171B4E29A9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168A124-5D5C-4CAD-B1B7-795E0DD1CF92}" type="datetimeFigureOut">
              <a:rPr lang="en-US" smtClean="0"/>
              <a:t>4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999FCA-596B-542A-1678-618B894CA8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0C984B-2428-0642-467E-EE7CA4E921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6B254BA-5DB3-4932-825D-3C8C670308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7747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oleObject" Target="../embeddings/oleObject2.bin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chart" Target="../charts/chart1.xml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64A53D-A19C-E1D0-8635-5C42AFA18B1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79F452-320A-3A90-E349-5B0652921C3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54913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D8C0E8B3-CECE-D286-BF57-6F544CF69A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2663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532" imgH="530" progId="TCLayout.ActiveDocument.1">
                  <p:embed/>
                </p:oleObj>
              </mc:Choice>
              <mc:Fallback>
                <p:oleObj name="think-cell Slide" r:id="rId13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6E612429-B83C-B2DE-FC74-D2E93819381F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6724995"/>
              </p:ext>
            </p:extLst>
          </p:nvPr>
        </p:nvGraphicFramePr>
        <p:xfrm>
          <a:off x="833438" y="1931988"/>
          <a:ext cx="3190875" cy="3470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9EB8332F-2CFC-8574-265D-83F36DADA92D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222375" y="1987550"/>
            <a:ext cx="3937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33FAE53-5276-4D1F-AC12-0C04CA3D3CB4}" type="datetime'2''''''''''''0''''''''''''23'''''''''''''''''''''''''">
              <a:rPr lang="en-US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3</a:t>
            </a:fld>
            <a:endParaRPr lang="en-US" sz="1400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9EB8332F-2CFC-8574-265D-83F36DADA92D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232025" y="1987550"/>
            <a:ext cx="3937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58795A2-3DCC-401B-B343-28DAC358EE07}" type="datetime'''''''''''''''''2''0''''''''''''''2''''4'''''''">
              <a:rPr lang="en-US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4</a:t>
            </a:fld>
            <a:endParaRPr lang="en-US" sz="1400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EB8332F-2CFC-8574-265D-83F36DADA92D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240088" y="1987550"/>
            <a:ext cx="3937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A272DCE-F128-4A6B-B4EA-26C18746349B}" type="datetime'''''''''''''''''''''''''20''''2''''''''''''5'''''''''''''''">
              <a:rPr lang="en-US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</a:t>
            </a:fld>
            <a:endParaRPr lang="en-US" sz="1400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EB8332F-2CFC-8574-265D-83F36DADA92D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90525" y="2500313"/>
            <a:ext cx="6064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C7C93BC-BCCB-4BEF-AC77-F8058586485A}" type="datetime'''''''''''''S''''''''''''''''''e''''''''r''''i''es'''' ''1'">
              <a:rPr lang="en-US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ries 1</a:t>
            </a:fld>
            <a:endParaRPr lang="en-US" sz="1400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9EB8332F-2CFC-8574-265D-83F36DADA92D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90525" y="3303588"/>
            <a:ext cx="6064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5C869EB-B431-4069-8AC0-8115B1BB598F}" type="datetime'S''''e''''''''''''''r''''i''''e''s'' ''''2'''''''''''''''">
              <a:rPr lang="en-US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ries 2</a:t>
            </a:fld>
            <a:endParaRPr lang="en-US" sz="1400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EB8332F-2CFC-8574-265D-83F36DADA92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90525" y="4108450"/>
            <a:ext cx="6064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EDCBF10-8F9C-47D5-90C9-01FE00CCF2A6}" type="datetime'''''''''S''''e''''''ri''''e''''''''''s ''''''''3'''''''''">
              <a:rPr lang="en-US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ries 3</a:t>
            </a:fld>
            <a:endParaRPr lang="en-US" sz="1400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EB8332F-2CFC-8574-265D-83F36DADA92D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298575" y="4586288"/>
            <a:ext cx="241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AE2A0A5-5B98-4235-A7F8-0A969156D144}" type="datetime'''1''''''''''''''''''''3'''''''''''''''''">
              <a:rPr lang="en-US" altLang="en-US" sz="1400" smtClean="0"/>
              <a:pPr/>
              <a:t>13</a:t>
            </a:fld>
            <a:endParaRPr lang="en-US" sz="1400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EB8332F-2CFC-8574-265D-83F36DADA92D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2308225" y="5121275"/>
            <a:ext cx="241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E97FF4E-5D5A-4419-8F9D-5A22181EBA3D}" type="datetime'''''''''''''''''''''''''1''''''''''''6'''''''''''''''">
              <a:rPr lang="en-US" altLang="en-US" sz="1400" smtClean="0"/>
              <a:pPr/>
              <a:t>16</a:t>
            </a:fld>
            <a:endParaRPr lang="en-US" sz="1400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9EB8332F-2CFC-8574-265D-83F36DADA92D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363913" y="3692525"/>
            <a:ext cx="1460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A34BEAA-E9DB-4EE2-8D0D-7DA529FCCD91}" type="datetime'''''''''''''''''''''''''''''''8'''''''''''''''">
              <a:rPr lang="en-US" altLang="en-US" sz="1400" smtClean="0"/>
              <a:pPr/>
              <a:t>8</a:t>
            </a:fld>
            <a:endParaRPr lang="en-US" sz="1400" dirty="0"/>
          </a:p>
        </p:txBody>
      </p:sp>
      <p:sp>
        <p:nvSpPr>
          <p:cNvPr id="22" name="Title 21">
            <a:extLst>
              <a:ext uri="{FF2B5EF4-FFF2-40B4-BE49-F238E27FC236}">
                <a16:creationId xmlns:a16="http://schemas.microsoft.com/office/drawing/2014/main" id="{89578856-5871-ADAC-7E0F-EBBE4FE7C6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fld id="{B94F366C-E2F4-4BF6-BAC4-528FC09A8A01}" type="thinkcell&lt;?xml version=&quot;1.0&quot; encoding=&quot;UTF-16&quot; standalone=&quot;yes&quot;?&gt;&lt;root reqver=&quot;28224&quot;&gt;&lt;version val=&quot;35700&quot;/&gt;&lt;PersistentType&gt;&lt;m_varval type=&quot;5&quot;&gt;Slide #2&lt;/m_varval&gt;&lt;m_fontExcel&gt;&lt;m_bBold val=&quot;0&quot;/&gt;&lt;m_bItalic val=&quot;0&quot;/&gt;&lt;/m_fontExcel&gt;&lt;m_colFontExcel&gt;&lt;m_msothmcolidx val=&quot;0&quot;/&gt;&lt;m_rgb r=&quot;00&quot; g=&quot;00&quot; b=&quot;00&quot;/&gt;&lt;/m_colFontExcel&gt;&lt;m_prec&gt;&lt;m_yearfmt&gt;&lt;begin val=&quot;0&quot;/&gt;&lt;end val=&quot;4&quot;/&gt;&lt;/m_yearfmt&gt;&lt;/m_prec&gt;&lt;m_bUseExcelFont val=&quot;0&quot;/&gt;&lt;m_bUseExcelFontColor val=&quot;0&quot;/&gt;&lt;m_strName&gt;Title&lt;/m_strName&gt;&lt;/PersistentType&gt;&lt;/root&gt;">
              <a:rPr lang="en-US" altLang="en-US" smtClean="0">
                <a:effectLst/>
              </a:rPr>
              <a:pPr/>
              <a:t>Slide #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1346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70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em.Zci8BMH6Jn5yLpMU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ZdsKBgfO8myTSZoANi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7iBvu.RnW5iPYb4zug8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DLF9VqPIR3lhzsM0kzs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kuMspcHIs9NgEmjaD6Z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8s3dMbX3kuRRX0jo7h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JGyB5xA5eSGRV3Gc3zZ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4.K7rT8rHJ3BxadEa7n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vQkc3Gkm4T6mEA6x4P1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j65BY1DjE3hfDyuVrzr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</Words>
  <Application>Microsoft Office PowerPoint</Application>
  <PresentationFormat>Widescreen</PresentationFormat>
  <Paragraphs>10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ptos</vt:lpstr>
      <vt:lpstr>Aptos Display</vt:lpstr>
      <vt:lpstr>Arial</vt:lpstr>
      <vt:lpstr>Office Theme</vt:lpstr>
      <vt:lpstr>think-cell Slide</vt:lpstr>
      <vt:lpstr>PowerPoint Presentation</vt:lpstr>
      <vt:lpstr>Slide #2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oan, Danny B</dc:creator>
  <cp:lastModifiedBy>Doan, Danny B</cp:lastModifiedBy>
  <cp:revision>2</cp:revision>
  <dcterms:created xsi:type="dcterms:W3CDTF">2025-04-23T17:35:14Z</dcterms:created>
  <dcterms:modified xsi:type="dcterms:W3CDTF">2025-04-24T07:13:21Z</dcterms:modified>
</cp:coreProperties>
</file>